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2"/>
  </p:notesMasterIdLst>
  <p:sldIdLst>
    <p:sldId id="270" r:id="rId2"/>
    <p:sldId id="271" r:id="rId3"/>
    <p:sldId id="361" r:id="rId4"/>
    <p:sldId id="356" r:id="rId5"/>
    <p:sldId id="343" r:id="rId6"/>
    <p:sldId id="358" r:id="rId7"/>
    <p:sldId id="345" r:id="rId8"/>
    <p:sldId id="359" r:id="rId9"/>
    <p:sldId id="346" r:id="rId10"/>
    <p:sldId id="357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C400"/>
    <a:srgbClr val="6CACE4"/>
    <a:srgbClr val="003087"/>
    <a:srgbClr val="E35205"/>
    <a:srgbClr val="00AC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77" autoAdjust="0"/>
    <p:restoredTop sz="95592" autoAdjust="0"/>
  </p:normalViewPr>
  <p:slideViewPr>
    <p:cSldViewPr snapToGrid="0">
      <p:cViewPr varScale="1">
        <p:scale>
          <a:sx n="116" d="100"/>
          <a:sy n="116" d="100"/>
        </p:scale>
        <p:origin x="82" y="10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FA829-EDA7-9943-8B97-609E7847197B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77105-CBA0-4244-8F4C-292AB8B999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57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LEGE BRANDING: https://www.seminolestate.edu/crm/logo  |  COLLEGE PHOTOGRAPHY: https://seminolestate.photoshelter.com   |   COLLEGE VIDEOS: https://www.youtube.com/SeminoleStateColle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F9EF3-427B-904E-96C1-8B3FD7FBBA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49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005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041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974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787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808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326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2756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0CBE67-688C-4973-9FE6-C6D22DF8B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798467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0CBE67-688C-4973-9FE6-C6D22DF8B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7449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DF0DA-0912-46C6-A73B-807DE0ADD6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94210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DF0DA-0912-46C6-A73B-807DE0ADD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9775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23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138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865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4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19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569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436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625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minolestate.edu/crm/log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seminolestate.photoshelter.com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C84D3-8069-CF67-4AEC-EA7D4549F7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-1790700"/>
            <a:ext cx="6858000" cy="17907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Template Bran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2DFF50-4106-4185-9176-227CB17C6ACA}"/>
              </a:ext>
            </a:extLst>
          </p:cNvPr>
          <p:cNvSpPr txBox="1"/>
          <p:nvPr/>
        </p:nvSpPr>
        <p:spPr>
          <a:xfrm>
            <a:off x="522197" y="595818"/>
            <a:ext cx="24406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e Brand Color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 descr="decorative blue slot">
            <a:extLst>
              <a:ext uri="{FF2B5EF4-FFF2-40B4-BE49-F238E27FC236}">
                <a16:creationId xmlns:a16="http://schemas.microsoft.com/office/drawing/2014/main" id="{1BF16AD7-0A64-411B-A4F5-CD079CF1F4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1008534"/>
            <a:ext cx="275665" cy="672352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 descr="decorative gold slot">
            <a:extLst>
              <a:ext uri="{FF2B5EF4-FFF2-40B4-BE49-F238E27FC236}">
                <a16:creationId xmlns:a16="http://schemas.microsoft.com/office/drawing/2014/main" id="{6EBF89BC-D482-410D-A85E-FFD237D31D2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5" y="1680885"/>
            <a:ext cx="275665" cy="672352"/>
          </a:xfrm>
          <a:prstGeom prst="rect">
            <a:avLst/>
          </a:prstGeom>
          <a:solidFill>
            <a:srgbClr val="F1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 descr="decorative cyan slot">
            <a:extLst>
              <a:ext uri="{FF2B5EF4-FFF2-40B4-BE49-F238E27FC236}">
                <a16:creationId xmlns:a16="http://schemas.microsoft.com/office/drawing/2014/main" id="{3646E910-9527-46C1-8FA5-481FF264C0E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2353238"/>
            <a:ext cx="275665" cy="672352"/>
          </a:xfrm>
          <a:prstGeom prst="rect">
            <a:avLst/>
          </a:prstGeom>
          <a:solidFill>
            <a:srgbClr val="00AC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 descr="decorative light blue slot">
            <a:extLst>
              <a:ext uri="{FF2B5EF4-FFF2-40B4-BE49-F238E27FC236}">
                <a16:creationId xmlns:a16="http://schemas.microsoft.com/office/drawing/2014/main" id="{F04859DA-9B9E-4A5B-BB46-D70EF5C24E1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3027324"/>
            <a:ext cx="275665" cy="672352"/>
          </a:xfrm>
          <a:prstGeom prst="rect">
            <a:avLst/>
          </a:prstGeom>
          <a:solidFill>
            <a:srgbClr val="6CA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DA005E-6224-4085-BDE8-26F8126B8568}"/>
              </a:ext>
            </a:extLst>
          </p:cNvPr>
          <p:cNvSpPr txBox="1"/>
          <p:nvPr/>
        </p:nvSpPr>
        <p:spPr>
          <a:xfrm>
            <a:off x="1109387" y="1066431"/>
            <a:ext cx="15060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Dark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48, 13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CD8DA4-A6AD-4497-949D-11BE80BA43F3}"/>
              </a:ext>
            </a:extLst>
          </p:cNvPr>
          <p:cNvSpPr txBox="1"/>
          <p:nvPr/>
        </p:nvSpPr>
        <p:spPr>
          <a:xfrm>
            <a:off x="1109387" y="1758955"/>
            <a:ext cx="1853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Bright Gold</a:t>
            </a:r>
            <a:endParaRPr lang="en-US" sz="1400" dirty="0">
              <a:latin typeface="Helvetica" pitchFamily="2" charset="0"/>
            </a:endParaRPr>
          </a:p>
          <a:p>
            <a:r>
              <a:rPr lang="en-US" sz="1400" dirty="0">
                <a:latin typeface="Helvetica" pitchFamily="2" charset="0"/>
              </a:rPr>
              <a:t>RGB: 241, 196, 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FC4ED2-C332-47A0-981C-DD03A1CD04C9}"/>
              </a:ext>
            </a:extLst>
          </p:cNvPr>
          <p:cNvSpPr txBox="1"/>
          <p:nvPr/>
        </p:nvSpPr>
        <p:spPr>
          <a:xfrm>
            <a:off x="1109386" y="2417979"/>
            <a:ext cx="1707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yan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172, 23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02FF2-2FAC-4D7F-B8FA-67C01D43F66A}"/>
              </a:ext>
            </a:extLst>
          </p:cNvPr>
          <p:cNvSpPr txBox="1"/>
          <p:nvPr/>
        </p:nvSpPr>
        <p:spPr>
          <a:xfrm>
            <a:off x="1109386" y="3128397"/>
            <a:ext cx="2146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Light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108, 172, 22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600DD-4A53-380F-9CE0-164A7ACF91E1}"/>
              </a:ext>
            </a:extLst>
          </p:cNvPr>
          <p:cNvSpPr txBox="1"/>
          <p:nvPr/>
        </p:nvSpPr>
        <p:spPr>
          <a:xfrm>
            <a:off x="3422295" y="565122"/>
            <a:ext cx="52880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Helvetica" pitchFamily="2" charset="0"/>
              </a:rPr>
              <a:t>This PowerPoint is intended as a template. Please revise as needed for your presentation: update words and images, move elements, delete unused pages, etc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A09F6-EC3C-4137-B576-D540ACCA084E}"/>
              </a:ext>
            </a:extLst>
          </p:cNvPr>
          <p:cNvSpPr txBox="1"/>
          <p:nvPr/>
        </p:nvSpPr>
        <p:spPr>
          <a:xfrm>
            <a:off x="3422295" y="2115441"/>
            <a:ext cx="22949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ing Resource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3AB5ED-5442-4682-A29C-C1B372A74FA2}"/>
              </a:ext>
            </a:extLst>
          </p:cNvPr>
          <p:cNvSpPr txBox="1"/>
          <p:nvPr/>
        </p:nvSpPr>
        <p:spPr>
          <a:xfrm>
            <a:off x="3422295" y="2506863"/>
            <a:ext cx="4515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ollege Brand Guidelines</a:t>
            </a:r>
            <a:br>
              <a:rPr lang="en-US" sz="1400" b="1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  <a:hlinkClick r:id="rId3"/>
              </a:rPr>
              <a:t>https://www.seminolestate.edu/crm/logo</a:t>
            </a:r>
            <a:endParaRPr lang="en-US" sz="1400" dirty="0">
              <a:latin typeface="Helvetica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7D8008-C7DB-4FEE-9005-2A9D6D797944}"/>
              </a:ext>
            </a:extLst>
          </p:cNvPr>
          <p:cNvSpPr txBox="1"/>
          <p:nvPr/>
        </p:nvSpPr>
        <p:spPr>
          <a:xfrm>
            <a:off x="3422295" y="3109672"/>
            <a:ext cx="46125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Update Images with College Photography</a:t>
            </a:r>
          </a:p>
          <a:p>
            <a:r>
              <a:rPr lang="en-US" sz="1400" dirty="0">
                <a:latin typeface="Helvetica" pitchFamily="2" charset="0"/>
                <a:hlinkClick r:id="rId4"/>
              </a:rPr>
              <a:t>https://seminolestate.photoshelter.com</a:t>
            </a:r>
            <a:endParaRPr lang="en-US" sz="14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361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527845-3A1C-2879-BD8C-B61C57758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-994172"/>
            <a:ext cx="7886700" cy="99417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End of slide show</a:t>
            </a:r>
          </a:p>
        </p:txBody>
      </p:sp>
      <p:sp>
        <p:nvSpPr>
          <p:cNvPr id="2" name="Rectangle 1" descr="decorative solid">
            <a:extLst>
              <a:ext uri="{FF2B5EF4-FFF2-40B4-BE49-F238E27FC236}">
                <a16:creationId xmlns:a16="http://schemas.microsoft.com/office/drawing/2014/main" id="{D35005EC-BCA0-5F58-A7A2-0E3A44A5C58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Seminole State College of Florida logo">
            <a:extLst>
              <a:ext uri="{FF2B5EF4-FFF2-40B4-BE49-F238E27FC236}">
                <a16:creationId xmlns:a16="http://schemas.microsoft.com/office/drawing/2014/main" id="{96833B84-9989-4F63-4F00-4D546A522C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985" y="2554954"/>
            <a:ext cx="2226029" cy="1069367"/>
          </a:xfrm>
          <a:prstGeom prst="rect">
            <a:avLst/>
          </a:prstGeom>
        </p:spPr>
      </p:pic>
      <p:pic>
        <p:nvPicPr>
          <p:cNvPr id="6" name="Picture 5" descr="Seminole State College of Florida, Your Learning Partner for Success in white and yellow font on a blue background.">
            <a:extLst>
              <a:ext uri="{FF2B5EF4-FFF2-40B4-BE49-F238E27FC236}">
                <a16:creationId xmlns:a16="http://schemas.microsoft.com/office/drawing/2014/main" id="{CA5B1A8F-98B8-BD74-22B2-10BAC94326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999" y="3267663"/>
            <a:ext cx="4572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8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Weldon Administration building on the Sanford/Lake Mary campus of Seminole State College of Florida.">
            <a:extLst>
              <a:ext uri="{FF2B5EF4-FFF2-40B4-BE49-F238E27FC236}">
                <a16:creationId xmlns:a16="http://schemas.microsoft.com/office/drawing/2014/main" id="{67C0ADB8-7CAD-F68E-FB22-B3CD217A1C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8" b="38"/>
          <a:stretch/>
        </p:blipFill>
        <p:spPr>
          <a:xfrm>
            <a:off x="0" y="1339"/>
            <a:ext cx="9143998" cy="5142161"/>
          </a:xfrm>
          <a:prstGeom prst="rect">
            <a:avLst/>
          </a:prstGeom>
        </p:spPr>
      </p:pic>
      <p:sp>
        <p:nvSpPr>
          <p:cNvPr id="20" name="Rectangle 19" descr="decorative box">
            <a:extLst>
              <a:ext uri="{FF2B5EF4-FFF2-40B4-BE49-F238E27FC236}">
                <a16:creationId xmlns:a16="http://schemas.microsoft.com/office/drawing/2014/main" id="{F3922AD5-958B-7B91-AE7F-D52FC9354F1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" y="1340"/>
            <a:ext cx="9143999" cy="1828501"/>
          </a:xfrm>
          <a:prstGeom prst="rect">
            <a:avLst/>
          </a:prstGeom>
          <a:solidFill>
            <a:srgbClr val="0030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23" name="object 4">
            <a:extLst>
              <a:ext uri="{FF2B5EF4-FFF2-40B4-BE49-F238E27FC236}">
                <a16:creationId xmlns:a16="http://schemas.microsoft.com/office/drawing/2014/main" id="{E384E91A-3464-9C7F-8167-89C741A84B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11081" y="533292"/>
            <a:ext cx="4179201" cy="58836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498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Presentation Title</a:t>
            </a:r>
          </a:p>
        </p:txBody>
      </p:sp>
      <p:sp>
        <p:nvSpPr>
          <p:cNvPr id="24" name="object 4">
            <a:extLst>
              <a:ext uri="{FF2B5EF4-FFF2-40B4-BE49-F238E27FC236}">
                <a16:creationId xmlns:a16="http://schemas.microsoft.com/office/drawing/2014/main" id="{7A9B0B96-8763-6D17-5CCC-744558E752AC}"/>
              </a:ext>
            </a:extLst>
          </p:cNvPr>
          <p:cNvSpPr txBox="1">
            <a:spLocks/>
          </p:cNvSpPr>
          <p:nvPr/>
        </p:nvSpPr>
        <p:spPr>
          <a:xfrm>
            <a:off x="626787" y="1121610"/>
            <a:ext cx="3211662" cy="266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n-IN" sz="2000" dirty="0">
                <a:latin typeface="Arial" panose="020B0604020202020204" pitchFamily="34" charset="0"/>
              </a:rPr>
              <a:t>Subtitle</a:t>
            </a:r>
          </a:p>
        </p:txBody>
      </p:sp>
      <p:pic>
        <p:nvPicPr>
          <p:cNvPr id="22" name="Picture 21" descr="Seminole State College of Florida logo">
            <a:extLst>
              <a:ext uri="{FF2B5EF4-FFF2-40B4-BE49-F238E27FC236}">
                <a16:creationId xmlns:a16="http://schemas.microsoft.com/office/drawing/2014/main" id="{BB0C9C46-6F47-DA74-CD3A-952AABC074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299" y="552857"/>
            <a:ext cx="1510156" cy="725467"/>
          </a:xfrm>
          <a:prstGeom prst="rect">
            <a:avLst/>
          </a:prstGeom>
        </p:spPr>
      </p:pic>
      <p:sp>
        <p:nvSpPr>
          <p:cNvPr id="2" name="Subtitle 15">
            <a:extLst>
              <a:ext uri="{FF2B5EF4-FFF2-40B4-BE49-F238E27FC236}">
                <a16:creationId xmlns:a16="http://schemas.microsoft.com/office/drawing/2014/main" id="{EE071F43-2207-12DA-1242-4BE3E07CC780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latin typeface="Helvetica" pitchFamily="2" charset="0"/>
              </a:rPr>
              <a:t>Sanford/Lake Mary Campus</a:t>
            </a:r>
            <a:endParaRPr lang="en-IN" sz="600" dirty="0">
              <a:latin typeface="Helvetica" pitchFamily="2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747655" y="608013"/>
            <a:ext cx="6307137" cy="41433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998" b="1" i="0" u="none" strike="noStrike" kern="1200" cap="none" spc="0" normalizeH="0" baseline="0" noProof="0" dirty="0">
                <a:ln>
                  <a:noFill/>
                </a:ln>
                <a:solidFill>
                  <a:srgbClr val="003087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Agenda</a:t>
            </a:r>
          </a:p>
        </p:txBody>
      </p:sp>
      <p:pic>
        <p:nvPicPr>
          <p:cNvPr id="2" name="Picture 1" descr="Seminole State College brick sign outside of the Student Center on the Sanford/Lake Mary campus.">
            <a:extLst>
              <a:ext uri="{FF2B5EF4-FFF2-40B4-BE49-F238E27FC236}">
                <a16:creationId xmlns:a16="http://schemas.microsoft.com/office/drawing/2014/main" id="{AF229063-95CF-0D81-CBCB-2D5EDFA68EB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06" r="56060"/>
          <a:stretch>
            <a:fillRect/>
          </a:stretch>
        </p:blipFill>
        <p:spPr>
          <a:xfrm>
            <a:off x="0" y="1"/>
            <a:ext cx="2170570" cy="51435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8506CA-6181-4DD8-AF84-3569CB02B76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2638128" y="1246188"/>
            <a:ext cx="5137150" cy="2690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ubtitle 15">
            <a:extLst>
              <a:ext uri="{FF2B5EF4-FFF2-40B4-BE49-F238E27FC236}">
                <a16:creationId xmlns:a16="http://schemas.microsoft.com/office/drawing/2014/main" id="{57BB5316-08DD-9EBD-DF60-CB524F2E342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2720969" y="4811097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11" name="Picture 10" descr="Seminole State College of Florida with college shield logo in blue and yellow font.">
            <a:extLst>
              <a:ext uri="{FF2B5EF4-FFF2-40B4-BE49-F238E27FC236}">
                <a16:creationId xmlns:a16="http://schemas.microsoft.com/office/drawing/2014/main" id="{3C231345-755A-286B-E250-6C199A001D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8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1091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one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564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he clock tower on the Lee Campus at Oviedo.">
            <a:extLst>
              <a:ext uri="{FF2B5EF4-FFF2-40B4-BE49-F238E27FC236}">
                <a16:creationId xmlns:a16="http://schemas.microsoft.com/office/drawing/2014/main" id="{04C68E9E-0380-6B72-C339-BC1F051DE61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257" y="0"/>
            <a:ext cx="9139486" cy="5143500"/>
          </a:xfrm>
          <a:prstGeom prst="rect">
            <a:avLst/>
          </a:prstGeom>
        </p:spPr>
      </p:pic>
      <p:sp>
        <p:nvSpPr>
          <p:cNvPr id="6" name="Rectangle 5" descr="decorative box">
            <a:extLst>
              <a:ext uri="{FF2B5EF4-FFF2-40B4-BE49-F238E27FC236}">
                <a16:creationId xmlns:a16="http://schemas.microsoft.com/office/drawing/2014/main" id="{6D3BD269-237B-0B2D-E050-D6110E7FA5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F1C400">
              <a:alpha val="7987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28925CF0-C81F-95F4-B4C1-9EDDF90083C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 One</a:t>
            </a:r>
          </a:p>
        </p:txBody>
      </p:sp>
      <p:pic>
        <p:nvPicPr>
          <p:cNvPr id="8" name="Picture 7" descr="Seminole State College of Florida logo">
            <a:extLst>
              <a:ext uri="{FF2B5EF4-FFF2-40B4-BE49-F238E27FC236}">
                <a16:creationId xmlns:a16="http://schemas.microsoft.com/office/drawing/2014/main" id="{1E59EBAF-C911-D0BE-2995-05D8A6B15D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  <p:sp>
        <p:nvSpPr>
          <p:cNvPr id="2" name="Subtitle 15">
            <a:extLst>
              <a:ext uri="{FF2B5EF4-FFF2-40B4-BE49-F238E27FC236}">
                <a16:creationId xmlns:a16="http://schemas.microsoft.com/office/drawing/2014/main" id="{1D63A7E3-BF43-9DFD-AE6A-D7C9B4CBC664}"/>
              </a:ext>
            </a:extLst>
          </p:cNvPr>
          <p:cNvSpPr txBox="1">
            <a:spLocks/>
          </p:cNvSpPr>
          <p:nvPr/>
        </p:nvSpPr>
        <p:spPr>
          <a:xfrm>
            <a:off x="457200" y="4763687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latin typeface="Helvetica" pitchFamily="2" charset="0"/>
              </a:rPr>
              <a:t>Lee Campus at Oviedo</a:t>
            </a:r>
            <a:endParaRPr lang="en-IN" sz="6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4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two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96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he Heathrow campus building across the lake during sunset.">
            <a:extLst>
              <a:ext uri="{FF2B5EF4-FFF2-40B4-BE49-F238E27FC236}">
                <a16:creationId xmlns:a16="http://schemas.microsoft.com/office/drawing/2014/main" id="{697E955A-BA81-82AB-1869-6303C37694C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398" t="17559" b="2622"/>
          <a:stretch>
            <a:fillRect/>
          </a:stretch>
        </p:blipFill>
        <p:spPr>
          <a:xfrm>
            <a:off x="0" y="0"/>
            <a:ext cx="9143998" cy="5143500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CAD73991-9B48-5C9A-505C-E00081DA2F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3993796"/>
            <a:ext cx="9143999" cy="689198"/>
          </a:xfrm>
          <a:prstGeom prst="rect">
            <a:avLst/>
          </a:prstGeom>
          <a:solidFill>
            <a:srgbClr val="6CACE4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C43CAD44-042A-3D38-B7D5-C7F23CD7732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4176190"/>
            <a:ext cx="609905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on Bottom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5CDED26E-91ED-3B98-79F2-28E4081D1C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4127055"/>
            <a:ext cx="901657" cy="433149"/>
          </a:xfrm>
          <a:prstGeom prst="rect">
            <a:avLst/>
          </a:prstGeom>
        </p:spPr>
      </p:pic>
      <p:sp>
        <p:nvSpPr>
          <p:cNvPr id="2" name="Subtitle 15">
            <a:extLst>
              <a:ext uri="{FF2B5EF4-FFF2-40B4-BE49-F238E27FC236}">
                <a16:creationId xmlns:a16="http://schemas.microsoft.com/office/drawing/2014/main" id="{CDB95323-A4B3-1732-A7FE-90F6764A6155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 err="1">
                <a:latin typeface="Helvetica" pitchFamily="2" charset="0"/>
              </a:rPr>
              <a:t>Center</a:t>
            </a:r>
            <a:r>
              <a:rPr lang="en-IN" sz="600" b="1" dirty="0">
                <a:latin typeface="Helvetica" pitchFamily="2" charset="0"/>
              </a:rPr>
              <a:t> for Economic Development at Heathrow</a:t>
            </a:r>
            <a:endParaRPr lang="en-IN" sz="6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302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three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10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he Altamonte Spring campus building of Seminole State College of Florida.">
            <a:extLst>
              <a:ext uri="{FF2B5EF4-FFF2-40B4-BE49-F238E27FC236}">
                <a16:creationId xmlns:a16="http://schemas.microsoft.com/office/drawing/2014/main" id="{A85E8352-6431-C72C-944A-ED0267C3121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241" b="1383"/>
          <a:stretch>
            <a:fillRect/>
          </a:stretch>
        </p:blipFill>
        <p:spPr>
          <a:xfrm>
            <a:off x="-1" y="0"/>
            <a:ext cx="9143999" cy="5143500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053E9F87-4D02-A7DC-1CA3-3E4C9B19CF0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00308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2B39BF84-3881-2E6E-6D1E-742053E8FD0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 Two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1B4142E0-0A83-1090-6986-BBBEEE243A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  <p:sp>
        <p:nvSpPr>
          <p:cNvPr id="8" name="Subtitle 15">
            <a:extLst>
              <a:ext uri="{FF2B5EF4-FFF2-40B4-BE49-F238E27FC236}">
                <a16:creationId xmlns:a16="http://schemas.microsoft.com/office/drawing/2014/main" id="{D42456D0-BE1F-CDED-2860-9028718689CB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latin typeface="Helvetica" pitchFamily="2" charset="0"/>
              </a:rPr>
              <a:t>Altamonte Springs Campus</a:t>
            </a:r>
            <a:endParaRPr lang="en-IN" sz="6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055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94</TotalTime>
  <Words>215</Words>
  <Application>Microsoft Office PowerPoint</Application>
  <PresentationFormat>On-screen Show (16:9)</PresentationFormat>
  <Paragraphs>42</Paragraphs>
  <Slides>10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Helvetica</vt:lpstr>
      <vt:lpstr>Office Theme</vt:lpstr>
      <vt:lpstr>think-cell Slide</vt:lpstr>
      <vt:lpstr>Template Branding</vt:lpstr>
      <vt:lpstr>Presentation Title</vt:lpstr>
      <vt:lpstr>Agenda</vt:lpstr>
      <vt:lpstr>Header one</vt:lpstr>
      <vt:lpstr>Section Title at Top One</vt:lpstr>
      <vt:lpstr>Header two</vt:lpstr>
      <vt:lpstr>Section Title on Bottom</vt:lpstr>
      <vt:lpstr>Header three</vt:lpstr>
      <vt:lpstr>Section Title at Top Two</vt:lpstr>
      <vt:lpstr>End of slide sh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llian Baco</dc:creator>
  <cp:lastModifiedBy>Alyson Linder</cp:lastModifiedBy>
  <cp:revision>40</cp:revision>
  <dcterms:created xsi:type="dcterms:W3CDTF">2024-03-25T18:15:56Z</dcterms:created>
  <dcterms:modified xsi:type="dcterms:W3CDTF">2026-05-18T12:49:38Z</dcterms:modified>
</cp:coreProperties>
</file>